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Melhorar a flexibilidade do processo de garraf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Barras de quart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al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1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Instalação de uma haste de quartzo entre a lâmpada de aquecimento e a pré-forma para concentrar / focar a radiação IR.</a:t>
            </a:r>
          </a:p>
          <a:p>
            <a:endParaRPr lang="pt-B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Contribuem para resolver problemas de aquecimento, especialmente na pré-forma sob a área do pescoç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Apenas para a primei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ecomendado para garantir a produção de garrafas rPET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proteção de gargalo de garraf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obustez do proces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garantir distribuição ideal de material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8B38F272-A646-42A7-92DA-E25FFC4800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3</TotalTime>
  <Words>9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lhorar a flexibilidade do processo de garraf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2</cp:revision>
  <dcterms:created xsi:type="dcterms:W3CDTF">2018-02-10T17:04:39Z</dcterms:created>
  <dcterms:modified xsi:type="dcterms:W3CDTF">2021-02-04T16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